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50" r:id="rId1"/>
  </p:sldMasterIdLst>
  <p:notesMasterIdLst>
    <p:notesMasterId r:id="rId21"/>
  </p:notesMasterIdLst>
  <p:sldIdLst>
    <p:sldId id="259" r:id="rId2"/>
    <p:sldId id="283" r:id="rId3"/>
    <p:sldId id="265" r:id="rId4"/>
    <p:sldId id="277" r:id="rId5"/>
    <p:sldId id="278" r:id="rId6"/>
    <p:sldId id="256" r:id="rId7"/>
    <p:sldId id="257" r:id="rId8"/>
    <p:sldId id="279" r:id="rId9"/>
    <p:sldId id="260" r:id="rId10"/>
    <p:sldId id="263" r:id="rId11"/>
    <p:sldId id="284" r:id="rId12"/>
    <p:sldId id="280" r:id="rId13"/>
    <p:sldId id="268" r:id="rId14"/>
    <p:sldId id="269" r:id="rId15"/>
    <p:sldId id="270" r:id="rId16"/>
    <p:sldId id="281" r:id="rId17"/>
    <p:sldId id="282" r:id="rId18"/>
    <p:sldId id="271" r:id="rId19"/>
    <p:sldId id="273" r:id="rId20"/>
  </p:sldIdLst>
  <p:sldSz cx="12192000" cy="6858000"/>
  <p:notesSz cx="6797675" cy="992663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0" autoAdjust="0"/>
  </p:normalViewPr>
  <p:slideViewPr>
    <p:cSldViewPr snapToObjects="1" showGuides="1">
      <p:cViewPr varScale="1">
        <p:scale>
          <a:sx n="114" d="100"/>
          <a:sy n="114" d="100"/>
        </p:scale>
        <p:origin x="474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4/13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929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2088" y="188911"/>
            <a:ext cx="11807827" cy="3708402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425" y="4149080"/>
            <a:ext cx="11233151" cy="5400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424" y="4609880"/>
            <a:ext cx="11233151" cy="1198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6034835"/>
            <a:ext cx="3600000" cy="382497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400000" cy="382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7282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6"/>
            <a:ext cx="11376025" cy="205263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E386D9-CD0A-4844-8889-63CB4BAE67F0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3567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251" userDrawn="1">
          <p15:clr>
            <a:srgbClr val="FBAE40"/>
          </p15:clr>
        </p15:guide>
        <p15:guide id="4" orient="horz" pos="95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3753036"/>
            <a:ext cx="11376025" cy="23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61C6F0-DF11-47D3-98E6-C8D578D495EF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9379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2364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orient="horz" pos="95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9" y="1520826"/>
            <a:ext cx="56165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1520826"/>
            <a:ext cx="558006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39551F-501F-48C3-872B-1B70E06C58D9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5683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3795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3838" userDrawn="1">
          <p15:clr>
            <a:srgbClr val="FBAE40"/>
          </p15:clr>
        </p15:guide>
        <p15:guide id="6" orient="horz" pos="95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4924" y="1520824"/>
            <a:ext cx="3679074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59263" y="1523205"/>
            <a:ext cx="3672000" cy="457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2268" y="1520824"/>
            <a:ext cx="3671999" cy="45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 hidden="1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FFFC3D1-78C0-45C0-B52E-0F26E1541273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81677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pos="5110" userDrawn="1">
          <p15:clr>
            <a:srgbClr val="FBAE40"/>
          </p15:clr>
        </p15:guide>
        <p15:guide id="4" pos="4997" userDrawn="1">
          <p15:clr>
            <a:srgbClr val="FBAE40"/>
          </p15:clr>
        </p15:guide>
        <p15:guide id="5" pos="2570" userDrawn="1">
          <p15:clr>
            <a:srgbClr val="FBAE40"/>
          </p15:clr>
        </p15:guide>
        <p15:guide id="6" pos="257" userDrawn="1">
          <p15:clr>
            <a:srgbClr val="FBAE40"/>
          </p15:clr>
        </p15:guide>
        <p15:guide id="7" orient="horz" pos="3838" userDrawn="1">
          <p15:clr>
            <a:srgbClr val="FBAE40"/>
          </p15:clr>
        </p15:guide>
        <p15:guide id="8" orient="horz" pos="95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8" y="1520825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0" y="1520825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7988" y="3898800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3950" y="3898800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 hidden="1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CB669CD-EA8B-43A0-A8CB-F99592D7E4F5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4399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orient="horz" pos="2341" userDrawn="1">
          <p15:clr>
            <a:srgbClr val="FBAE40"/>
          </p15:clr>
        </p15:guide>
        <p15:guide id="6" orient="horz" pos="957" userDrawn="1">
          <p15:clr>
            <a:srgbClr val="FBAE40"/>
          </p15:clr>
        </p15:guide>
        <p15:guide id="7" orient="horz" pos="2455" userDrawn="1">
          <p15:clr>
            <a:srgbClr val="FBAE40"/>
          </p15:clr>
        </p15:guide>
        <p15:guide id="8" orient="horz" pos="383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FBBEC-37FF-4CF5-96D7-08EADFB160DC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17071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B0DF9-929E-4D34-9B36-D9DA4125B5F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19544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7EAC4-54B9-4861-902F-1BD022B3385A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936676"/>
      </p:ext>
    </p:extLst>
  </p:cSld>
  <p:clrMapOvr>
    <a:masterClrMapping/>
  </p:clrMapOvr>
  <p:transition>
    <p:fade/>
  </p:transition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63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A1FFDD6D-807F-4511-8617-52E5A1F002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44809C7-AB8B-490B-9DE2-68BBAE4927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B339137-B699-4329-AB38-A91F610F3E5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F9AFA75-3BC9-4B23-9E63-7668A397268B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FAB827-C75B-4237-A041-591858E8065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308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151D592C-0E5C-4A6E-8B77-3E320256670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E7219B-B491-4349-90B2-CEE0CF754C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F70E331-4FD9-49A2-A1F3-F4F1958BF1FD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264D60F-9B75-411C-805A-0094C85ABBE3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924C966-DD41-44EC-96C3-14EA5E8B1DCA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2088" y="188911"/>
            <a:ext cx="11807827" cy="6480178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0" y="4147200"/>
            <a:ext cx="11233545" cy="54188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81030" y="4609880"/>
            <a:ext cx="11230828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81030" y="6031834"/>
            <a:ext cx="3597789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6" y="6031834"/>
            <a:ext cx="5400000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777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92088" y="188913"/>
            <a:ext cx="11807825" cy="6480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0515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2350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73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73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DE992-D9F8-47E3-8A6C-63E83D3CEFCD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42464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7988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tx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7988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7A8F2-1A0F-4944-89ED-5C98CF24A70A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2255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3499" userDrawn="1">
          <p15:clr>
            <a:srgbClr val="FBAE40"/>
          </p15:clr>
        </p15:guide>
        <p15:guide id="4" orient="horz" pos="193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4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7" indent="-245527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49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70" indent="-23917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58" indent="-23706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4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247ADA-8910-434A-9EE5-6D7773D18990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3018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1933" userDrawn="1">
          <p15:clr>
            <a:srgbClr val="FBAE40"/>
          </p15:clr>
        </p15:guide>
        <p15:guide id="4" orient="horz" pos="349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84613-1C8D-4A07-8381-9DFFDAD7B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8F3C7-45C2-466C-AA34-374F0F1ACE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C9AF0F-2DCB-4A2B-B791-982F304F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251C2-1D75-45C1-9256-F191876D6706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C52C69-E37A-43BE-B15F-8A75A7B76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3D8057-D44E-4CD4-8C5E-BBE475962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43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42DBBF48-C57F-4D08-8F91-3CE39764F6A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3CC3DC7-20F3-47E8-B5E3-07A8CCEB2A6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C4C470D-22C4-4962-9C8B-E9338ECC73F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EC79E2C-EE82-4583-BE3F-D991FC4ECCA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DDEE6D0-332E-4218-822A-DCEBEEC9D24B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1" y="3236780"/>
            <a:ext cx="11232000" cy="540001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031" y="3697581"/>
            <a:ext cx="11232000" cy="120112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Master-Untertitelformat bearbeiten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030" y="6031834"/>
            <a:ext cx="3600000" cy="385498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4"/>
            <a:ext cx="5399283" cy="385498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29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766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0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 hidden="1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B1D918-CD7E-471B-AB88-63E0F844E62F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89704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838" userDrawn="1">
          <p15:clr>
            <a:srgbClr val="FBAE40"/>
          </p15:clr>
        </p15:guide>
        <p15:guide id="4" orient="horz" pos="9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32238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7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 userDrawn="1"/>
        </p:nvSpPr>
        <p:spPr>
          <a:xfrm>
            <a:off x="10743630" y="476672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Space for individual information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8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Confidential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806211" y="6422426"/>
            <a:ext cx="1440000" cy="1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8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61BA46-9516-4ED5-A70D-561518E828F3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49490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959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24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8" y="188911"/>
            <a:ext cx="11807827" cy="648017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6BE78A-65F4-415D-80E8-D05EA234AB17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81FCD45-1C18-444D-A1E1-979102ABCBD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D0EE00A-0F4D-451D-AA50-789E3EDAED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FE5B38-D327-46AA-8EB6-F08E811A53B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A06B683-E53C-45AB-AFE0-55FD69B94387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176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 userDrawn="1"/>
        </p:nvGrpSpPr>
        <p:grpSpPr>
          <a:xfrm>
            <a:off x="0" y="0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4"/>
            <a:ext cx="11375997" cy="93599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4247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7988" y="379498"/>
            <a:ext cx="11375997" cy="935994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7987" y="1520791"/>
            <a:ext cx="11375997" cy="4572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698400" y="6422400"/>
            <a:ext cx="97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280576" y="6422400"/>
            <a:ext cx="503411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36000" y="6422400"/>
            <a:ext cx="2520000" cy="15044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 userDrawn="1"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6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353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5" r:id="rId4"/>
    <p:sldLayoutId id="2147483756" r:id="rId5"/>
    <p:sldLayoutId id="214748375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7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4" r:id="rId22"/>
    <p:sldLayoutId id="2147483775" r:id="rId23"/>
    <p:sldLayoutId id="2147483776" r:id="rId24"/>
    <p:sldLayoutId id="2147483779" r:id="rId25"/>
  </p:sldLayoutIdLst>
  <p:transition>
    <p:fade/>
  </p:transition>
  <p:hf hdr="0"/>
  <p:txStyles>
    <p:titleStyle>
      <a:lvl1pPr algn="l" defTabSz="121917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4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20000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98525" indent="-180975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inuxjournal.com/article/6463" TargetMode="Externa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slide" Target="slide8.xml"/><Relationship Id="rId4" Type="http://schemas.openxmlformats.org/officeDocument/2006/relationships/tags" Target="../tags/tag84.xml"/><Relationship Id="rId9" Type="http://schemas.openxmlformats.org/officeDocument/2006/relationships/slide" Target="slide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748DDE-22AC-4993-98C8-1162B36663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/>
              <a:t>Diplomado Linux Embebido – Módulo 2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2279B9-E1B8-4446-B819-F18DD3C381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MX" dirty="0"/>
              <a:t>Compilación y desarrollo cruzado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FB1EEF-34FE-4B44-AC52-94F1AC20B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dirty="0"/>
              <a:t>Alan Bautista, 2023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608FC4-9DED-4A67-8256-57A3DA0A44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8504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B6E30C-8604-4F8A-B938-D7ABE682D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nlazador dinámico / cargado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33B69B-A65F-4F6E-80A3-0ADDAE4A89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Se ejecuta en run-time</a:t>
            </a:r>
          </a:p>
          <a:p>
            <a:r>
              <a:rPr lang="es-MX" sz="2000" dirty="0"/>
              <a:t>Busca y carga las bibliotecas compartidas necesarias para el programa</a:t>
            </a:r>
          </a:p>
          <a:p>
            <a:r>
              <a:rPr lang="es-MX" sz="2000" dirty="0"/>
              <a:t>Reubica código y símbolos</a:t>
            </a:r>
          </a:p>
          <a:p>
            <a:endParaRPr lang="es-MX" sz="2000" dirty="0"/>
          </a:p>
          <a:p>
            <a:r>
              <a:rPr lang="es-MX" sz="2000" dirty="0"/>
              <a:t>Entrada: código ejecutable</a:t>
            </a:r>
          </a:p>
          <a:p>
            <a:r>
              <a:rPr lang="es-MX" sz="2000" dirty="0"/>
              <a:t>Producto: código en ejecución</a:t>
            </a:r>
          </a:p>
          <a:p>
            <a:endParaRPr lang="es-MX" sz="2000" dirty="0"/>
          </a:p>
          <a:p>
            <a:r>
              <a:rPr lang="es-MX" sz="2000" dirty="0"/>
              <a:t>Linux:</a:t>
            </a:r>
          </a:p>
          <a:p>
            <a:pPr lvl="1"/>
            <a:r>
              <a:rPr lang="en-US" sz="2000" dirty="0"/>
              <a:t>/lib/ld.so -&gt; </a:t>
            </a:r>
            <a:r>
              <a:rPr lang="en-US" sz="2000" dirty="0" err="1"/>
              <a:t>a.out</a:t>
            </a:r>
            <a:endParaRPr lang="en-US" sz="2000" dirty="0"/>
          </a:p>
          <a:p>
            <a:pPr lvl="1"/>
            <a:r>
              <a:rPr lang="en-US" sz="2000" dirty="0"/>
              <a:t>/lib/ld-linux.so.* -&gt; ELF</a:t>
            </a:r>
          </a:p>
          <a:p>
            <a:pPr marL="0" indent="0">
              <a:buNone/>
            </a:pPr>
            <a:endParaRPr lang="es-MX" sz="2000" i="1" dirty="0"/>
          </a:p>
          <a:p>
            <a:pPr marL="0" indent="0">
              <a:buNone/>
            </a:pP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2260152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9AF8371-8A8B-4079-BB50-48244564ADE7}"/>
              </a:ext>
            </a:extLst>
          </p:cNvPr>
          <p:cNvSpPr/>
          <p:nvPr/>
        </p:nvSpPr>
        <p:spPr>
          <a:xfrm>
            <a:off x="1857614" y="2162704"/>
            <a:ext cx="8202358" cy="1344525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E33F5D-99CF-4459-92BD-CCFF5CBB6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adena de generación y ejecución de binarios (C)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684FE6-B21D-4439-AA12-DFB4B8C0AF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46299-F8A8-4879-B45A-38CD5B128360}" type="datetime1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133C6-AE0C-4643-8D67-AEF8707F8A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3E82DD-F2E4-47AB-8309-A692042B8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A5475C-9B05-4A6C-A424-90B56F7DB7E6}" type="slidenum">
              <a:rPr lang="en-US" smtClean="0"/>
              <a:t>11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5DCB66-C83F-466F-9CE6-10329CCACF95}"/>
              </a:ext>
            </a:extLst>
          </p:cNvPr>
          <p:cNvSpPr/>
          <p:nvPr/>
        </p:nvSpPr>
        <p:spPr>
          <a:xfrm>
            <a:off x="600468" y="2358843"/>
            <a:ext cx="914400" cy="91440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Código (s) fuente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D3D264-7857-4DF2-9EFB-8141E373EA38}"/>
              </a:ext>
            </a:extLst>
          </p:cNvPr>
          <p:cNvSpPr/>
          <p:nvPr/>
        </p:nvSpPr>
        <p:spPr>
          <a:xfrm>
            <a:off x="1893115" y="2378624"/>
            <a:ext cx="1636808" cy="9144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Preprocesador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9FC4D3-7A72-4659-89E9-52ED0A05EE42}"/>
              </a:ext>
            </a:extLst>
          </p:cNvPr>
          <p:cNvSpPr/>
          <p:nvPr/>
        </p:nvSpPr>
        <p:spPr>
          <a:xfrm>
            <a:off x="5114719" y="2369514"/>
            <a:ext cx="1636808" cy="9144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Compilador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A9088F-5A21-4E31-A1C1-4120CB1DD354}"/>
              </a:ext>
            </a:extLst>
          </p:cNvPr>
          <p:cNvSpPr/>
          <p:nvPr/>
        </p:nvSpPr>
        <p:spPr>
          <a:xfrm>
            <a:off x="8336323" y="2378624"/>
            <a:ext cx="1636808" cy="9144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>
                <a:solidFill>
                  <a:srgbClr val="181818"/>
                </a:solidFill>
                <a:latin typeface="Arial" panose="020B0604020202020204" pitchFamily="34" charset="0"/>
              </a:rPr>
              <a:t>Enlazador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51147D-BE17-45EA-B0DE-C6E919E6BF32}"/>
              </a:ext>
            </a:extLst>
          </p:cNvPr>
          <p:cNvSpPr/>
          <p:nvPr/>
        </p:nvSpPr>
        <p:spPr>
          <a:xfrm>
            <a:off x="3904070" y="2388442"/>
            <a:ext cx="914400" cy="91440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Código (s) fuente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A44BFF-257D-4184-9F98-4D1FFA6B6C31}"/>
              </a:ext>
            </a:extLst>
          </p:cNvPr>
          <p:cNvSpPr/>
          <p:nvPr/>
        </p:nvSpPr>
        <p:spPr>
          <a:xfrm>
            <a:off x="7095397" y="2368806"/>
            <a:ext cx="914400" cy="91440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b="0" i="0" u="none" baseline="0" dirty="0">
                <a:solidFill>
                  <a:srgbClr val="181818"/>
                </a:solidFill>
                <a:latin typeface="Arial" panose="020B0604020202020204" pitchFamily="34" charset="0"/>
              </a:rPr>
              <a:t>Código (s) objeto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2DCD87-542C-4729-9F65-CE65E3B7C0F8}"/>
              </a:ext>
            </a:extLst>
          </p:cNvPr>
          <p:cNvSpPr/>
          <p:nvPr/>
        </p:nvSpPr>
        <p:spPr>
          <a:xfrm>
            <a:off x="10334386" y="2358843"/>
            <a:ext cx="1188132" cy="91440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Ejecutable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D9A4591-4E08-4627-AB02-0278FA35F042}"/>
              </a:ext>
            </a:extLst>
          </p:cNvPr>
          <p:cNvCxnSpPr/>
          <p:nvPr/>
        </p:nvCxnSpPr>
        <p:spPr>
          <a:xfrm>
            <a:off x="1574115" y="2826006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A41C254-186F-4DD8-A19E-CA69549762E7}"/>
              </a:ext>
            </a:extLst>
          </p:cNvPr>
          <p:cNvCxnSpPr/>
          <p:nvPr/>
        </p:nvCxnSpPr>
        <p:spPr>
          <a:xfrm>
            <a:off x="3554335" y="2845642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576615F-D732-43C2-856F-228E5BAE48D0}"/>
              </a:ext>
            </a:extLst>
          </p:cNvPr>
          <p:cNvCxnSpPr/>
          <p:nvPr/>
        </p:nvCxnSpPr>
        <p:spPr>
          <a:xfrm>
            <a:off x="4840305" y="2845642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ED8E424-59B4-4E7F-A1C3-7A43A1CF3694}"/>
              </a:ext>
            </a:extLst>
          </p:cNvPr>
          <p:cNvCxnSpPr/>
          <p:nvPr/>
        </p:nvCxnSpPr>
        <p:spPr>
          <a:xfrm>
            <a:off x="6786255" y="2816043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DB78E21D-6502-4E94-BBA0-22125A4744EC}"/>
              </a:ext>
            </a:extLst>
          </p:cNvPr>
          <p:cNvCxnSpPr/>
          <p:nvPr/>
        </p:nvCxnSpPr>
        <p:spPr>
          <a:xfrm>
            <a:off x="8061909" y="2816043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2ECC44A-D2F1-456B-87FB-BEB5ACCE621D}"/>
              </a:ext>
            </a:extLst>
          </p:cNvPr>
          <p:cNvCxnSpPr/>
          <p:nvPr/>
        </p:nvCxnSpPr>
        <p:spPr>
          <a:xfrm>
            <a:off x="10059972" y="2845642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9FD5654F-4BFC-42FE-B1BA-3868735646E4}"/>
              </a:ext>
            </a:extLst>
          </p:cNvPr>
          <p:cNvSpPr/>
          <p:nvPr/>
        </p:nvSpPr>
        <p:spPr>
          <a:xfrm>
            <a:off x="600468" y="4290490"/>
            <a:ext cx="1188132" cy="91440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Ejecutable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A09CBB0-72FC-49AF-AC81-0743FC2423A8}"/>
              </a:ext>
            </a:extLst>
          </p:cNvPr>
          <p:cNvSpPr/>
          <p:nvPr/>
        </p:nvSpPr>
        <p:spPr>
          <a:xfrm>
            <a:off x="2263711" y="4307131"/>
            <a:ext cx="1636808" cy="91440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Enlazador dinámico / Cargador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F14D578-5965-4587-9547-062F6AB0E8BD}"/>
              </a:ext>
            </a:extLst>
          </p:cNvPr>
          <p:cNvSpPr/>
          <p:nvPr/>
        </p:nvSpPr>
        <p:spPr>
          <a:xfrm>
            <a:off x="4341871" y="4301063"/>
            <a:ext cx="1188132" cy="9144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1600" dirty="0">
                <a:solidFill>
                  <a:srgbClr val="181818"/>
                </a:solidFill>
                <a:latin typeface="Arial" panose="020B0604020202020204" pitchFamily="34" charset="0"/>
              </a:rPr>
              <a:t>Código en ejecución</a:t>
            </a:r>
            <a:endParaRPr lang="en-US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E2A6473-CF44-4A11-A106-9E05FF782043}"/>
              </a:ext>
            </a:extLst>
          </p:cNvPr>
          <p:cNvCxnSpPr/>
          <p:nvPr/>
        </p:nvCxnSpPr>
        <p:spPr>
          <a:xfrm>
            <a:off x="1954005" y="4695296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33AE010-E6EC-41BB-8395-45BC0DFB1208}"/>
              </a:ext>
            </a:extLst>
          </p:cNvPr>
          <p:cNvCxnSpPr/>
          <p:nvPr/>
        </p:nvCxnSpPr>
        <p:spPr>
          <a:xfrm>
            <a:off x="4007664" y="4695296"/>
            <a:ext cx="274414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DA82DC04-0CDC-41B7-9260-9C8689108AB3}"/>
              </a:ext>
            </a:extLst>
          </p:cNvPr>
          <p:cNvSpPr txBox="1"/>
          <p:nvPr/>
        </p:nvSpPr>
        <p:spPr>
          <a:xfrm>
            <a:off x="476721" y="1585308"/>
            <a:ext cx="3427349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iempo de compilación: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AE04247-FE1B-43B3-B8BA-7B9E1C6730EF}"/>
              </a:ext>
            </a:extLst>
          </p:cNvPr>
          <p:cNvSpPr txBox="1"/>
          <p:nvPr/>
        </p:nvSpPr>
        <p:spPr>
          <a:xfrm>
            <a:off x="537355" y="3716295"/>
            <a:ext cx="3101939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iempo de ejecución:</a:t>
            </a:r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689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37F49EB-0318-4FB8-A91A-E7DC45F42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ipos de binari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1139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6B0AC-2853-44EE-8238-61CED4A0B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ódigo objeto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A3629B-5AB9-4071-9D09-1EB34768D0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Producto final de la compilación (antes del enlazado)</a:t>
            </a:r>
          </a:p>
          <a:p>
            <a:r>
              <a:rPr lang="es-MX" sz="2000" dirty="0"/>
              <a:t>No es ejecutable por sí mismo</a:t>
            </a:r>
          </a:p>
          <a:p>
            <a:r>
              <a:rPr lang="es-MX" sz="2000" dirty="0"/>
              <a:t>Es “</a:t>
            </a:r>
            <a:r>
              <a:rPr lang="es-MX" sz="2000" dirty="0" err="1"/>
              <a:t>re-ubicable</a:t>
            </a:r>
            <a:r>
              <a:rPr lang="es-MX" sz="2000" dirty="0"/>
              <a:t>”</a:t>
            </a:r>
          </a:p>
          <a:p>
            <a:r>
              <a:rPr lang="es-MX" sz="2000" dirty="0"/>
              <a:t>Generalmente tiene la extensión .o</a:t>
            </a:r>
          </a:p>
          <a:p>
            <a:endParaRPr lang="es-MX" dirty="0"/>
          </a:p>
          <a:p>
            <a:pPr marL="0" indent="0">
              <a:buNone/>
            </a:pPr>
            <a:r>
              <a:rPr lang="es-MX" sz="2000" dirty="0">
                <a:latin typeface="Consolas" panose="020B0609020204030204" pitchFamily="49" charset="0"/>
              </a:rPr>
              <a:t>$ </a:t>
            </a:r>
            <a:r>
              <a:rPr lang="es-MX" sz="2000" dirty="0" err="1">
                <a:latin typeface="Consolas" panose="020B0609020204030204" pitchFamily="49" charset="0"/>
              </a:rPr>
              <a:t>gcc</a:t>
            </a:r>
            <a:r>
              <a:rPr lang="es-MX" sz="2000" dirty="0">
                <a:latin typeface="Consolas" panose="020B0609020204030204" pitchFamily="49" charset="0"/>
              </a:rPr>
              <a:t> –c </a:t>
            </a:r>
            <a:r>
              <a:rPr lang="es-MX" sz="2000" dirty="0" err="1">
                <a:latin typeface="Consolas" panose="020B0609020204030204" pitchFamily="49" charset="0"/>
              </a:rPr>
              <a:t>main.c</a:t>
            </a:r>
            <a:r>
              <a:rPr lang="es-MX" sz="2000" dirty="0">
                <a:latin typeface="Consolas" panose="020B0609020204030204" pitchFamily="49" charset="0"/>
              </a:rPr>
              <a:t> -o </a:t>
            </a:r>
            <a:r>
              <a:rPr lang="es-MX" sz="2000" dirty="0" err="1">
                <a:latin typeface="Consolas" panose="020B0609020204030204" pitchFamily="49" charset="0"/>
              </a:rPr>
              <a:t>main.o</a:t>
            </a:r>
            <a:endParaRPr lang="es-MX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$ </a:t>
            </a:r>
            <a:r>
              <a:rPr lang="en-US" sz="2000" b="1" dirty="0">
                <a:latin typeface="Consolas" panose="020B0609020204030204" pitchFamily="49" charset="0"/>
              </a:rPr>
              <a:t>file</a:t>
            </a: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</a:rPr>
              <a:t>main.o</a:t>
            </a:r>
            <a:endParaRPr lang="en-US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 err="1">
                <a:latin typeface="Consolas" panose="020B0609020204030204" pitchFamily="49" charset="0"/>
              </a:rPr>
              <a:t>main.o</a:t>
            </a:r>
            <a:r>
              <a:rPr lang="en-US" sz="2000" dirty="0">
                <a:latin typeface="Consolas" panose="020B0609020204030204" pitchFamily="49" charset="0"/>
              </a:rPr>
              <a:t>: ELF 64-bit LSB </a:t>
            </a:r>
            <a:r>
              <a:rPr lang="en-US" sz="2000" b="1" dirty="0">
                <a:latin typeface="Consolas" panose="020B0609020204030204" pitchFamily="49" charset="0"/>
              </a:rPr>
              <a:t>relocatable</a:t>
            </a:r>
            <a:r>
              <a:rPr lang="en-US" sz="2000" dirty="0">
                <a:latin typeface="Consolas" panose="020B0609020204030204" pitchFamily="49" charset="0"/>
              </a:rPr>
              <a:t>, x86-64, version 1 (SYSV), not stripp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3756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DA48A-67D3-4BB2-A960-0BB07DA2A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Programa ejecutab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AC9AD6-072D-427D-85D4-1C8BF143FE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Código listo para ser enlazado en tiempo de ejecución, cargado en memoria y ejecutado</a:t>
            </a:r>
          </a:p>
          <a:p>
            <a:r>
              <a:rPr lang="es-MX" sz="2000" dirty="0"/>
              <a:t>Es el resultado de la cadena de </a:t>
            </a:r>
            <a:r>
              <a:rPr lang="es-MX" sz="2000" dirty="0" err="1"/>
              <a:t>pre-procesado</a:t>
            </a:r>
            <a:r>
              <a:rPr lang="es-MX" sz="2000" dirty="0"/>
              <a:t>, compilado, enlazado</a:t>
            </a:r>
          </a:p>
          <a:p>
            <a:endParaRPr lang="es-MX" dirty="0"/>
          </a:p>
          <a:p>
            <a:pPr marL="0" indent="0">
              <a:buNone/>
            </a:pPr>
            <a:r>
              <a:rPr lang="es-MX" sz="2000" dirty="0">
                <a:latin typeface="Consolas" panose="020B0609020204030204" pitchFamily="49" charset="0"/>
              </a:rPr>
              <a:t>$ </a:t>
            </a:r>
            <a:r>
              <a:rPr lang="es-MX" sz="2000" dirty="0" err="1">
                <a:latin typeface="Consolas" panose="020B0609020204030204" pitchFamily="49" charset="0"/>
              </a:rPr>
              <a:t>gcc</a:t>
            </a:r>
            <a:r>
              <a:rPr lang="es-MX" sz="2000" dirty="0">
                <a:latin typeface="Consolas" panose="020B0609020204030204" pitchFamily="49" charset="0"/>
              </a:rPr>
              <a:t> </a:t>
            </a:r>
            <a:r>
              <a:rPr lang="es-MX" sz="2000" dirty="0" err="1">
                <a:latin typeface="Consolas" panose="020B0609020204030204" pitchFamily="49" charset="0"/>
              </a:rPr>
              <a:t>main.c</a:t>
            </a:r>
            <a:endParaRPr lang="es-MX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s-MX" sz="2000" dirty="0">
                <a:latin typeface="Consolas" panose="020B0609020204030204" pitchFamily="49" charset="0"/>
              </a:rPr>
              <a:t>$ </a:t>
            </a:r>
            <a:r>
              <a:rPr lang="es-MX" sz="2000" b="1" dirty="0">
                <a:latin typeface="Consolas" panose="020B0609020204030204" pitchFamily="49" charset="0"/>
              </a:rPr>
              <a:t>file</a:t>
            </a:r>
            <a:r>
              <a:rPr lang="es-MX" sz="2000" dirty="0">
                <a:latin typeface="Consolas" panose="020B0609020204030204" pitchFamily="49" charset="0"/>
              </a:rPr>
              <a:t> </a:t>
            </a:r>
            <a:r>
              <a:rPr lang="es-MX" sz="2000" dirty="0" err="1">
                <a:latin typeface="Consolas" panose="020B0609020204030204" pitchFamily="49" charset="0"/>
              </a:rPr>
              <a:t>a.out</a:t>
            </a:r>
            <a:endParaRPr lang="es-MX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s-MX" sz="2000" dirty="0" err="1">
                <a:latin typeface="Consolas" panose="020B0609020204030204" pitchFamily="49" charset="0"/>
              </a:rPr>
              <a:t>a.out</a:t>
            </a:r>
            <a:r>
              <a:rPr lang="es-MX" sz="2000" dirty="0">
                <a:latin typeface="Consolas" panose="020B0609020204030204" pitchFamily="49" charset="0"/>
              </a:rPr>
              <a:t>: ELF 64-bit LSB </a:t>
            </a:r>
            <a:r>
              <a:rPr lang="es-MX" sz="2000" b="1" dirty="0" err="1">
                <a:latin typeface="Consolas" panose="020B0609020204030204" pitchFamily="49" charset="0"/>
              </a:rPr>
              <a:t>executable</a:t>
            </a:r>
            <a:r>
              <a:rPr lang="es-MX" sz="2000" dirty="0">
                <a:latin typeface="Consolas" panose="020B0609020204030204" pitchFamily="49" charset="0"/>
              </a:rPr>
              <a:t>, x86-64, </a:t>
            </a:r>
            <a:r>
              <a:rPr lang="es-MX" sz="2000" dirty="0" err="1">
                <a:latin typeface="Consolas" panose="020B0609020204030204" pitchFamily="49" charset="0"/>
              </a:rPr>
              <a:t>version</a:t>
            </a:r>
            <a:r>
              <a:rPr lang="es-MX" sz="2000" dirty="0">
                <a:latin typeface="Consolas" panose="020B0609020204030204" pitchFamily="49" charset="0"/>
              </a:rPr>
              <a:t> 1 (SYSV), </a:t>
            </a:r>
            <a:r>
              <a:rPr lang="es-MX" sz="2000" dirty="0" err="1">
                <a:latin typeface="Consolas" panose="020B0609020204030204" pitchFamily="49" charset="0"/>
              </a:rPr>
              <a:t>dynamically</a:t>
            </a:r>
            <a:r>
              <a:rPr lang="es-MX" sz="2000" dirty="0">
                <a:latin typeface="Consolas" panose="020B0609020204030204" pitchFamily="49" charset="0"/>
              </a:rPr>
              <a:t> </a:t>
            </a:r>
            <a:r>
              <a:rPr lang="es-MX" sz="2000" dirty="0" err="1">
                <a:latin typeface="Consolas" panose="020B0609020204030204" pitchFamily="49" charset="0"/>
              </a:rPr>
              <a:t>linked</a:t>
            </a:r>
            <a:r>
              <a:rPr lang="es-MX" sz="2000" dirty="0">
                <a:latin typeface="Consolas" panose="020B0609020204030204" pitchFamily="49" charset="0"/>
              </a:rPr>
              <a:t> (uses </a:t>
            </a:r>
            <a:r>
              <a:rPr lang="es-MX" sz="2000" dirty="0" err="1">
                <a:latin typeface="Consolas" panose="020B0609020204030204" pitchFamily="49" charset="0"/>
              </a:rPr>
              <a:t>shared</a:t>
            </a:r>
            <a:r>
              <a:rPr lang="es-MX" sz="2000" dirty="0">
                <a:latin typeface="Consolas" panose="020B0609020204030204" pitchFamily="49" charset="0"/>
              </a:rPr>
              <a:t> </a:t>
            </a:r>
            <a:r>
              <a:rPr lang="es-MX" sz="2000" dirty="0" err="1">
                <a:latin typeface="Consolas" panose="020B0609020204030204" pitchFamily="49" charset="0"/>
              </a:rPr>
              <a:t>libs</a:t>
            </a:r>
            <a:r>
              <a:rPr lang="es-MX" sz="2000" dirty="0">
                <a:latin typeface="Consolas" panose="020B0609020204030204" pitchFamily="49" charset="0"/>
              </a:rPr>
              <a:t>), </a:t>
            </a:r>
            <a:r>
              <a:rPr lang="es-MX" sz="2000" dirty="0" err="1">
                <a:latin typeface="Consolas" panose="020B0609020204030204" pitchFamily="49" charset="0"/>
              </a:rPr>
              <a:t>for</a:t>
            </a:r>
            <a:r>
              <a:rPr lang="es-MX" sz="2000" dirty="0">
                <a:latin typeface="Consolas" panose="020B0609020204030204" pitchFamily="49" charset="0"/>
              </a:rPr>
              <a:t> GNU/Linux 2.6.24, </a:t>
            </a:r>
            <a:r>
              <a:rPr lang="es-MX" sz="2000" dirty="0" err="1">
                <a:latin typeface="Consolas" panose="020B0609020204030204" pitchFamily="49" charset="0"/>
              </a:rPr>
              <a:t>BuildID</a:t>
            </a:r>
            <a:r>
              <a:rPr lang="es-MX" sz="2000" dirty="0">
                <a:latin typeface="Consolas" panose="020B0609020204030204" pitchFamily="49" charset="0"/>
              </a:rPr>
              <a:t>[sha1]=0x…, </a:t>
            </a:r>
            <a:r>
              <a:rPr lang="es-MX" sz="2000" dirty="0" err="1">
                <a:latin typeface="Consolas" panose="020B0609020204030204" pitchFamily="49" charset="0"/>
              </a:rPr>
              <a:t>not</a:t>
            </a:r>
            <a:r>
              <a:rPr lang="es-MX" sz="2000" dirty="0">
                <a:latin typeface="Consolas" panose="020B0609020204030204" pitchFamily="49" charset="0"/>
              </a:rPr>
              <a:t> </a:t>
            </a:r>
            <a:r>
              <a:rPr lang="es-MX" sz="2000" dirty="0" err="1">
                <a:latin typeface="Consolas" panose="020B0609020204030204" pitchFamily="49" charset="0"/>
              </a:rPr>
              <a:t>stripped</a:t>
            </a:r>
            <a:endParaRPr lang="es-MX" sz="2000" dirty="0">
              <a:latin typeface="Consolas" panose="020B0609020204030204" pitchFamily="49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6994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004BBC-6EC6-4778-8FCD-0D1DF3496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ibliotecas compartid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1B86A1-C634-4D06-AE13-074989EAB9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Código objeto listo para ser cargado cuando un programa lo requiera en tiempo de ejecución</a:t>
            </a:r>
          </a:p>
          <a:p>
            <a:r>
              <a:rPr lang="es-MX" sz="2000" dirty="0"/>
              <a:t>Por convención tienen la extensión .so</a:t>
            </a:r>
          </a:p>
          <a:p>
            <a:r>
              <a:rPr lang="es-MX" sz="2000" dirty="0"/>
              <a:t>El enlazador dinámico las busca por defecto en los folders /</a:t>
            </a:r>
            <a:r>
              <a:rPr lang="es-MX" sz="2000" dirty="0" err="1"/>
              <a:t>lib</a:t>
            </a:r>
            <a:r>
              <a:rPr lang="es-MX" sz="2000" dirty="0"/>
              <a:t> /</a:t>
            </a:r>
            <a:r>
              <a:rPr lang="es-MX" sz="2000" dirty="0" err="1"/>
              <a:t>usr</a:t>
            </a:r>
            <a:r>
              <a:rPr lang="es-MX" sz="2000" dirty="0"/>
              <a:t>/</a:t>
            </a:r>
            <a:r>
              <a:rPr lang="es-MX" sz="2000" dirty="0" err="1"/>
              <a:t>lib</a:t>
            </a:r>
            <a:r>
              <a:rPr lang="es-MX" sz="2000" dirty="0"/>
              <a:t> con el nombre lib</a:t>
            </a:r>
            <a:r>
              <a:rPr lang="es-MX" sz="2000" i="1" dirty="0">
                <a:solidFill>
                  <a:srgbClr val="FF0000"/>
                </a:solidFill>
              </a:rPr>
              <a:t>nombre</a:t>
            </a:r>
            <a:r>
              <a:rPr lang="es-MX" sz="2000" dirty="0"/>
              <a:t>.so y en las rutas indicadas en LD_LIBRARY_PATH</a:t>
            </a:r>
          </a:p>
          <a:p>
            <a:r>
              <a:rPr lang="es-MX" sz="2000" dirty="0"/>
              <a:t>Permiten la reutilización de código, el desarrollo modular y facilitan las actualizaciones</a:t>
            </a:r>
          </a:p>
          <a:p>
            <a:pPr marL="0" indent="0">
              <a:buNone/>
            </a:pPr>
            <a:endParaRPr lang="en-US" sz="18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$ </a:t>
            </a:r>
            <a:r>
              <a:rPr lang="en-US" sz="2000" dirty="0" err="1">
                <a:latin typeface="Consolas" panose="020B0609020204030204" pitchFamily="49" charset="0"/>
              </a:rPr>
              <a:t>gcc</a:t>
            </a:r>
            <a:r>
              <a:rPr lang="en-US" sz="2000" dirty="0">
                <a:latin typeface="Consolas" panose="020B0609020204030204" pitchFamily="49" charset="0"/>
              </a:rPr>
              <a:t> –shared -</a:t>
            </a:r>
            <a:r>
              <a:rPr lang="en-US" sz="2000" dirty="0" err="1">
                <a:latin typeface="Consolas" panose="020B0609020204030204" pitchFamily="49" charset="0"/>
              </a:rPr>
              <a:t>fPIC</a:t>
            </a:r>
            <a:r>
              <a:rPr lang="en-US" sz="2000" dirty="0">
                <a:latin typeface="Consolas" panose="020B0609020204030204" pitchFamily="49" charset="0"/>
              </a:rPr>
              <a:t> -o libfoo.so </a:t>
            </a:r>
            <a:r>
              <a:rPr lang="en-US" sz="2000" dirty="0" err="1">
                <a:latin typeface="Consolas" panose="020B0609020204030204" pitchFamily="49" charset="0"/>
              </a:rPr>
              <a:t>foo.c</a:t>
            </a:r>
            <a:endParaRPr lang="en-US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$ </a:t>
            </a:r>
            <a:r>
              <a:rPr lang="en-US" sz="2000" b="1" dirty="0">
                <a:latin typeface="Consolas" panose="020B0609020204030204" pitchFamily="49" charset="0"/>
              </a:rPr>
              <a:t>file</a:t>
            </a:r>
            <a:r>
              <a:rPr lang="en-US" sz="2000" dirty="0">
                <a:latin typeface="Consolas" panose="020B0609020204030204" pitchFamily="49" charset="0"/>
              </a:rPr>
              <a:t> libfoo.so</a:t>
            </a: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libfoo.so: ELF 64-bit LSB </a:t>
            </a:r>
            <a:r>
              <a:rPr lang="en-US" sz="2000" b="1" dirty="0">
                <a:latin typeface="Consolas" panose="020B0609020204030204" pitchFamily="49" charset="0"/>
              </a:rPr>
              <a:t>shared object</a:t>
            </a:r>
            <a:r>
              <a:rPr lang="en-US" sz="2000" dirty="0">
                <a:latin typeface="Consolas" panose="020B0609020204030204" pitchFamily="49" charset="0"/>
              </a:rPr>
              <a:t>, x86-64, version 1 (SYSV), dynamically linked, </a:t>
            </a:r>
            <a:r>
              <a:rPr lang="en-US" sz="2000" dirty="0" err="1">
                <a:latin typeface="Consolas" panose="020B0609020204030204" pitchFamily="49" charset="0"/>
              </a:rPr>
              <a:t>BuildID</a:t>
            </a:r>
            <a:r>
              <a:rPr lang="en-US" sz="2000" dirty="0">
                <a:latin typeface="Consolas" panose="020B0609020204030204" pitchFamily="49" charset="0"/>
              </a:rPr>
              <a:t>[sha1]=0x…, not stripped</a:t>
            </a:r>
          </a:p>
        </p:txBody>
      </p:sp>
    </p:spTree>
    <p:extLst>
      <p:ext uri="{BB962C8B-B14F-4D97-AF65-F5344CB8AC3E}">
        <p14:creationId xmlns:p14="http://schemas.microsoft.com/office/powerpoint/2010/main" val="2887297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8844A5-E493-4BDF-8019-BF9E5DD8E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ibliotecas estática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C34655-6FD1-4960-9586-14F44A571B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Colección de múltiples archivos de código objeto “concatenados” en un único archivo (archive)</a:t>
            </a:r>
          </a:p>
          <a:p>
            <a:r>
              <a:rPr lang="es-MX" sz="2000" dirty="0"/>
              <a:t>Generalmente tienen la extensión .</a:t>
            </a:r>
            <a:r>
              <a:rPr lang="es-MX" sz="2000" dirty="0" err="1"/>
              <a:t>lib</a:t>
            </a:r>
            <a:r>
              <a:rPr lang="es-MX" sz="2000" dirty="0"/>
              <a:t> o .a</a:t>
            </a:r>
          </a:p>
          <a:p>
            <a:r>
              <a:rPr lang="es-MX" sz="2000" dirty="0"/>
              <a:t>Se utilizan para generar código ejecutable que no dependa de bibliotecas externas</a:t>
            </a:r>
          </a:p>
          <a:p>
            <a:r>
              <a:rPr lang="es-MX" sz="2000" dirty="0"/>
              <a:t>Genera programas más grandes pero sin dependencias</a:t>
            </a:r>
          </a:p>
          <a:p>
            <a:endParaRPr lang="es-MX" dirty="0"/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$ </a:t>
            </a:r>
            <a:r>
              <a:rPr lang="en-US" sz="2000" dirty="0" err="1">
                <a:latin typeface="Consolas" panose="020B0609020204030204" pitchFamily="49" charset="0"/>
              </a:rPr>
              <a:t>gcc</a:t>
            </a:r>
            <a:r>
              <a:rPr lang="en-US" sz="2000" dirty="0">
                <a:latin typeface="Consolas" panose="020B0609020204030204" pitchFamily="49" charset="0"/>
              </a:rPr>
              <a:t> -c </a:t>
            </a:r>
            <a:r>
              <a:rPr lang="en-US" sz="2000" dirty="0" err="1">
                <a:latin typeface="Consolas" panose="020B0609020204030204" pitchFamily="49" charset="0"/>
              </a:rPr>
              <a:t>foo.c</a:t>
            </a:r>
            <a:r>
              <a:rPr lang="en-US" sz="2000" dirty="0">
                <a:latin typeface="Consolas" panose="020B0609020204030204" pitchFamily="49" charset="0"/>
              </a:rPr>
              <a:t> -o </a:t>
            </a:r>
            <a:r>
              <a:rPr lang="en-US" sz="2000" dirty="0" err="1">
                <a:latin typeface="Consolas" panose="020B0609020204030204" pitchFamily="49" charset="0"/>
              </a:rPr>
              <a:t>foo.o</a:t>
            </a:r>
            <a:endParaRPr lang="en-US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$ </a:t>
            </a:r>
            <a:r>
              <a:rPr lang="en-US" sz="2000" dirty="0" err="1">
                <a:latin typeface="Consolas" panose="020B0609020204030204" pitchFamily="49" charset="0"/>
              </a:rPr>
              <a:t>ar</a:t>
            </a:r>
            <a:r>
              <a:rPr lang="en-US" sz="2000" dirty="0">
                <a:latin typeface="Consolas" panose="020B0609020204030204" pitchFamily="49" charset="0"/>
              </a:rPr>
              <a:t> –</a:t>
            </a:r>
            <a:r>
              <a:rPr lang="en-US" sz="2000" dirty="0" err="1">
                <a:latin typeface="Consolas" panose="020B0609020204030204" pitchFamily="49" charset="0"/>
              </a:rPr>
              <a:t>rc</a:t>
            </a: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</a:rPr>
              <a:t>libfoo.a</a:t>
            </a: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</a:rPr>
              <a:t>foo.o</a:t>
            </a: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</a:rPr>
              <a:t>bar.o</a:t>
            </a:r>
            <a:endParaRPr lang="en-US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$ file </a:t>
            </a:r>
            <a:r>
              <a:rPr lang="en-US" sz="2000" dirty="0" err="1">
                <a:latin typeface="Consolas" panose="020B0609020204030204" pitchFamily="49" charset="0"/>
              </a:rPr>
              <a:t>libfoo.a</a:t>
            </a:r>
            <a:endParaRPr lang="en-US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</a:rPr>
              <a:t>libfoo.a</a:t>
            </a:r>
            <a:r>
              <a:rPr lang="en-US" sz="2000" dirty="0">
                <a:latin typeface="Consolas" panose="020B0609020204030204" pitchFamily="49" charset="0"/>
              </a:rPr>
              <a:t>: current </a:t>
            </a:r>
            <a:r>
              <a:rPr lang="en-US" sz="2000" dirty="0" err="1">
                <a:latin typeface="Consolas" panose="020B0609020204030204" pitchFamily="49" charset="0"/>
              </a:rPr>
              <a:t>ar</a:t>
            </a: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b="1" dirty="0">
                <a:latin typeface="Consolas" panose="020B0609020204030204" pitchFamily="49" charset="0"/>
              </a:rPr>
              <a:t>archive</a:t>
            </a:r>
          </a:p>
          <a:p>
            <a:pPr marL="0" indent="0">
              <a:buNone/>
            </a:pPr>
            <a:endParaRPr lang="en-US" sz="2000" dirty="0"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en-US" sz="2000" dirty="0">
                <a:latin typeface="Consolas" panose="020B0609020204030204" pitchFamily="49" charset="0"/>
              </a:rPr>
              <a:t>$</a:t>
            </a:r>
            <a:r>
              <a:rPr lang="en-US" sz="2000" dirty="0" err="1">
                <a:latin typeface="Consolas" panose="020B0609020204030204" pitchFamily="49" charset="0"/>
              </a:rPr>
              <a:t>gcc</a:t>
            </a: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</a:rPr>
              <a:t>main.o</a:t>
            </a:r>
            <a:r>
              <a:rPr lang="en-US" sz="2000" dirty="0">
                <a:latin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</a:rPr>
              <a:t>libfoo.a</a:t>
            </a:r>
            <a:r>
              <a:rPr lang="en-US" sz="2000" dirty="0">
                <a:latin typeface="Consolas" panose="020B0609020204030204" pitchFamily="49" charset="0"/>
              </a:rPr>
              <a:t> -o main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2360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1C3E1-5F97-4A6A-ABE6-FB2590261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ectura recomenda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32B6CE-EA70-4B4B-8A71-53E810FC42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Linkers and loaders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https://www.linuxjournal.com/article/6463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84543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527618-72C6-4917-AD0A-7AA811AB3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ilación avanza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63299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F6AF1-1C92-4F83-A300-F7A38B938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Banderas de compilación de </a:t>
            </a:r>
            <a:r>
              <a:rPr lang="es-MX" dirty="0" err="1"/>
              <a:t>gcc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6FB610-94FE-44CF-8466-8DDEA8D1EE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-l -&gt; Enlazado con biblioteca dinámica. Se omite el “</a:t>
            </a:r>
            <a:r>
              <a:rPr lang="es-MX" sz="2000" dirty="0" err="1"/>
              <a:t>lib</a:t>
            </a:r>
            <a:r>
              <a:rPr lang="es-MX" sz="2000" dirty="0"/>
              <a:t>” y la extensión .so</a:t>
            </a:r>
          </a:p>
          <a:p>
            <a:r>
              <a:rPr lang="es-MX" sz="2000" dirty="0"/>
              <a:t>-L -&gt; Carpetas donde buscar por bibliotecas</a:t>
            </a:r>
          </a:p>
          <a:p>
            <a:r>
              <a:rPr lang="es-MX" sz="2000" dirty="0"/>
              <a:t>-I -&gt; Carpetas donde buscar por archivos de cabecera (#include)</a:t>
            </a:r>
          </a:p>
          <a:p>
            <a:r>
              <a:rPr lang="es-MX" sz="2000" dirty="0"/>
              <a:t>-D -&gt; Equivalente a “#define “</a:t>
            </a:r>
          </a:p>
          <a:p>
            <a:r>
              <a:rPr lang="es-MX" sz="2000" dirty="0"/>
              <a:t>-g -&gt; Generar símbolos de depuración</a:t>
            </a:r>
          </a:p>
          <a:p>
            <a:r>
              <a:rPr lang="es-MX" sz="2000" dirty="0"/>
              <a:t>-</a:t>
            </a:r>
            <a:r>
              <a:rPr lang="es-MX" sz="2000" dirty="0" err="1"/>
              <a:t>fPIC</a:t>
            </a:r>
            <a:r>
              <a:rPr lang="es-MX" sz="2000" dirty="0"/>
              <a:t> -&gt; Position </a:t>
            </a:r>
            <a:r>
              <a:rPr lang="es-MX" sz="2000" dirty="0" err="1"/>
              <a:t>Independent</a:t>
            </a:r>
            <a:r>
              <a:rPr lang="es-MX" sz="2000" dirty="0"/>
              <a:t> </a:t>
            </a:r>
            <a:r>
              <a:rPr lang="es-MX" sz="2000" dirty="0" err="1"/>
              <a:t>Code</a:t>
            </a:r>
            <a:endParaRPr lang="es-MX" sz="2000" dirty="0"/>
          </a:p>
          <a:p>
            <a:r>
              <a:rPr lang="es-MX" sz="2000" dirty="0"/>
              <a:t>-</a:t>
            </a:r>
            <a:r>
              <a:rPr lang="es-MX" sz="2000" dirty="0" err="1"/>
              <a:t>fPIE</a:t>
            </a:r>
            <a:r>
              <a:rPr lang="es-MX" sz="2000" dirty="0"/>
              <a:t> -&gt; Position </a:t>
            </a:r>
            <a:r>
              <a:rPr lang="es-MX" sz="2000" dirty="0" err="1"/>
              <a:t>Independent</a:t>
            </a:r>
            <a:r>
              <a:rPr lang="es-MX" sz="2000" dirty="0"/>
              <a:t> </a:t>
            </a:r>
            <a:r>
              <a:rPr lang="es-MX" sz="2000" dirty="0" err="1"/>
              <a:t>Executable</a:t>
            </a:r>
            <a:endParaRPr lang="es-MX" sz="2000" dirty="0"/>
          </a:p>
          <a:p>
            <a:r>
              <a:rPr lang="es-MX" sz="2000" dirty="0"/>
              <a:t>-j -&gt; Compilación paralela</a:t>
            </a:r>
          </a:p>
          <a:p>
            <a:r>
              <a:rPr lang="es-MX" sz="2000" dirty="0"/>
              <a:t>-Wall, -</a:t>
            </a:r>
            <a:r>
              <a:rPr lang="es-MX" sz="2000" dirty="0" err="1"/>
              <a:t>Werror</a:t>
            </a:r>
            <a:r>
              <a:rPr lang="es-MX" sz="2000" dirty="0"/>
              <a:t> -&gt; Comportamiento en caso de </a:t>
            </a:r>
            <a:r>
              <a:rPr lang="es-MX" sz="2000" dirty="0" err="1"/>
              <a:t>warnings</a:t>
            </a:r>
            <a:endParaRPr lang="es-MX" sz="2000" dirty="0"/>
          </a:p>
          <a:p>
            <a:r>
              <a:rPr lang="es-MX" sz="2000" dirty="0"/>
              <a:t>-O -&gt; Nivel de optimización del código</a:t>
            </a:r>
          </a:p>
          <a:p>
            <a:r>
              <a:rPr lang="es-MX" sz="2000" dirty="0"/>
              <a:t>-o -&gt; Nombrar del código objeto</a:t>
            </a:r>
          </a:p>
          <a:p>
            <a:endParaRPr lang="es-MX" sz="2000" dirty="0"/>
          </a:p>
        </p:txBody>
      </p:sp>
    </p:spTree>
    <p:extLst>
      <p:ext uri="{BB962C8B-B14F-4D97-AF65-F5344CB8AC3E}">
        <p14:creationId xmlns:p14="http://schemas.microsoft.com/office/powerpoint/2010/main" val="2330157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2BC03A8-E9FB-45E2-BF5B-5D7AFDA3F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Temario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FC62731-DFFD-42C8-AAB5-881952B2C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5DA1E-6869-4A03-AEE2-7761825AD0A1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3C8C8E-B16B-4A41-8939-02F5670A1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3AB6BF1-0DD4-4D3A-8E08-28CC1AE6A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13" name="Gruppieren 11">
            <a:extLst>
              <a:ext uri="{FF2B5EF4-FFF2-40B4-BE49-F238E27FC236}">
                <a16:creationId xmlns:a16="http://schemas.microsoft.com/office/drawing/2014/main" id="{33F60F2E-4FA7-46C3-A833-3ADC935FC23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95538" y="1340721"/>
            <a:ext cx="8353175" cy="1080167"/>
            <a:chOff x="323528" y="1052736"/>
            <a:chExt cx="8353175" cy="1080167"/>
          </a:xfrm>
        </p:grpSpPr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92594180-8A1F-4333-8D00-4D28206105E2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11528" y="1052736"/>
              <a:ext cx="8065175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s-MX" b="1" dirty="0">
                  <a:solidFill>
                    <a:schemeClr val="tx2"/>
                  </a:solidFill>
                  <a:latin typeface="Arial"/>
                </a:rPr>
                <a:t>Proceso de generación de binarios </a:t>
              </a:r>
              <a:endParaRPr lang="en-US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5E1152F4-16D6-47F9-8847-943A332DBBA2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23528" y="1052736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b="1">
                  <a:solidFill>
                    <a:schemeClr val="bg1"/>
                  </a:solidFill>
                  <a:latin typeface="Arial"/>
                </a:rPr>
                <a:t>1</a:t>
              </a:r>
              <a:endParaRPr lang="en-US" sz="1800" b="1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6" name="Rectangle 15">
              <a:hlinkClick r:id="rId9" action="ppaction://hlinksldjump"/>
              <a:extLst>
                <a:ext uri="{FF2B5EF4-FFF2-40B4-BE49-F238E27FC236}">
                  <a16:creationId xmlns:a16="http://schemas.microsoft.com/office/drawing/2014/main" id="{E27F0E20-6270-4E44-98C5-3BC58EE3FB86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11528" y="1448827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dirty="0" err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akefiles</a:t>
              </a:r>
              <a:endParaRPr lang="en-US" b="1" dirty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9" action="ppaction://hlinksldjump"/>
              <a:extLst>
                <a:ext uri="{FF2B5EF4-FFF2-40B4-BE49-F238E27FC236}">
                  <a16:creationId xmlns:a16="http://schemas.microsoft.com/office/drawing/2014/main" id="{19179787-A2D8-4E9C-8B2F-366AB9C7DFF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528" y="1448827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>
                  <a:solidFill>
                    <a:schemeClr val="bg1"/>
                  </a:solidFill>
                  <a:latin typeface="Arial"/>
                </a:rPr>
                <a:t>2</a:t>
              </a:r>
            </a:p>
          </p:txBody>
        </p:sp>
        <p:sp>
          <p:nvSpPr>
            <p:cNvPr id="18" name="Rectangle 15">
              <a:hlinkClick r:id="rId10" action="ppaction://hlinksldjump"/>
              <a:extLst>
                <a:ext uri="{FF2B5EF4-FFF2-40B4-BE49-F238E27FC236}">
                  <a16:creationId xmlns:a16="http://schemas.microsoft.com/office/drawing/2014/main" id="{7AC61E79-C2A8-44CB-BF72-D9E3C925D6C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11528" y="1844903"/>
              <a:ext cx="8065175" cy="288000"/>
            </a:xfrm>
            <a:prstGeom prst="rect">
              <a:avLst/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108000" tIns="35120" rIns="70239" bIns="35120" anchor="ctr"/>
            <a:lstStyle/>
            <a:p>
              <a:pPr marL="238125" indent="-238125">
                <a:tabLst>
                  <a:tab pos="3943350" algn="l"/>
                  <a:tab pos="5924550" algn="l"/>
                  <a:tab pos="7715250" algn="r"/>
                </a:tabLst>
              </a:pPr>
              <a:r>
                <a:rPr lang="en-US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Desarrollo cruzado</a:t>
              </a:r>
            </a:p>
          </p:txBody>
        </p:sp>
        <p:sp>
          <p:nvSpPr>
            <p:cNvPr id="19" name="Rectangle 15">
              <a:hlinkClick r:id="rId10" action="ppaction://hlinksldjump"/>
              <a:extLst>
                <a:ext uri="{FF2B5EF4-FFF2-40B4-BE49-F238E27FC236}">
                  <a16:creationId xmlns:a16="http://schemas.microsoft.com/office/drawing/2014/main" id="{4D4B330C-9FFE-443D-BE5D-47777BE0DA4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3528" y="184490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en-US" sz="1800" b="1">
                  <a:solidFill>
                    <a:schemeClr val="bg1"/>
                  </a:solidFill>
                  <a:latin typeface="Arial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01293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A9AEF1D-9D48-4237-BC49-ED8620617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enguajes de programació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6F3E11-B4D9-45D8-9432-763E1DBC46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30BD2F-1847-40FB-9D07-D2F2A07011D2}" type="datetime1">
              <a:rPr lang="en-US" smtClean="0"/>
              <a:pPr/>
              <a:t>4/13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CFF0A-4DF1-4B09-8E2E-CB4E657DCE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/>
              <a:t>Author © Continental AG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9A3E31-E755-4534-8CA3-89F695F1E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90418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1E8A4-0ECB-474B-88A8-32ACB875B3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enguajes Interpretad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839EB5-1479-466A-991A-FD0766BAB8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Requieren un programa adicional para la ejecución del código</a:t>
            </a:r>
          </a:p>
          <a:p>
            <a:r>
              <a:rPr lang="es-MX" sz="2000" dirty="0"/>
              <a:t>Ejecución de programas generalmente más lenta</a:t>
            </a:r>
          </a:p>
          <a:p>
            <a:r>
              <a:rPr lang="es-MX" sz="2000" dirty="0"/>
              <a:t>Programas fácilmente portables</a:t>
            </a:r>
          </a:p>
          <a:p>
            <a:r>
              <a:rPr lang="es-MX" sz="2000" dirty="0"/>
              <a:t>Ejemplos: </a:t>
            </a:r>
          </a:p>
          <a:p>
            <a:pPr lvl="1"/>
            <a:r>
              <a:rPr lang="es-MX" sz="2000" dirty="0"/>
              <a:t>Python -&gt; Intérprete de Python</a:t>
            </a:r>
          </a:p>
          <a:p>
            <a:pPr lvl="1"/>
            <a:r>
              <a:rPr lang="es-MX" sz="2000" dirty="0"/>
              <a:t>Java -&gt; Java </a:t>
            </a:r>
            <a:r>
              <a:rPr lang="es-MX" sz="2000" dirty="0" err="1"/>
              <a:t>Runtime</a:t>
            </a:r>
            <a:r>
              <a:rPr lang="es-MX" sz="2000" dirty="0"/>
              <a:t> </a:t>
            </a:r>
            <a:r>
              <a:rPr lang="es-MX" sz="2000" dirty="0" err="1"/>
              <a:t>Environment</a:t>
            </a:r>
            <a:r>
              <a:rPr lang="es-MX" sz="2000" dirty="0"/>
              <a:t> (JRE)</a:t>
            </a:r>
          </a:p>
          <a:p>
            <a:pPr lvl="1"/>
            <a:r>
              <a:rPr lang="es-MX" sz="2000" dirty="0"/>
              <a:t>C# -&gt; .NET Framework</a:t>
            </a:r>
          </a:p>
          <a:p>
            <a:pPr lvl="1"/>
            <a:r>
              <a:rPr lang="es-MX" sz="2000" dirty="0"/>
              <a:t>Shell script -&gt; </a:t>
            </a:r>
            <a:r>
              <a:rPr lang="es-MX" sz="2000" dirty="0" err="1"/>
              <a:t>Bash</a:t>
            </a:r>
            <a:r>
              <a:rPr lang="es-MX" sz="2000" dirty="0"/>
              <a:t>, Ash, </a:t>
            </a:r>
            <a:r>
              <a:rPr lang="es-MX" sz="2000" dirty="0" err="1"/>
              <a:t>Dash</a:t>
            </a:r>
            <a:r>
              <a:rPr lang="es-MX" sz="2000" dirty="0"/>
              <a:t>, etc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7404490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AC362-3BB0-4009-93CC-55F42C248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Lenguajes compilad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68111E-1771-4177-A58F-49CF49A45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sz="2000" dirty="0"/>
              <a:t>No requieren programas adicionales para ejecución del código</a:t>
            </a:r>
            <a:endParaRPr lang="en-US" sz="2000" dirty="0"/>
          </a:p>
          <a:p>
            <a:r>
              <a:rPr lang="en-US" sz="2000" dirty="0" err="1"/>
              <a:t>Ejecución</a:t>
            </a:r>
            <a:r>
              <a:rPr lang="en-US" sz="2000" dirty="0"/>
              <a:t> de </a:t>
            </a:r>
            <a:r>
              <a:rPr lang="en-US" sz="2000" dirty="0" err="1"/>
              <a:t>los</a:t>
            </a:r>
            <a:r>
              <a:rPr lang="en-US" sz="2000" dirty="0"/>
              <a:t> </a:t>
            </a:r>
            <a:r>
              <a:rPr lang="en-US" sz="2000" dirty="0" err="1"/>
              <a:t>programas</a:t>
            </a:r>
            <a:r>
              <a:rPr lang="en-US" sz="2000" dirty="0"/>
              <a:t> es </a:t>
            </a:r>
            <a:r>
              <a:rPr lang="en-US" sz="2000" dirty="0" err="1"/>
              <a:t>generalmente</a:t>
            </a:r>
            <a:r>
              <a:rPr lang="en-US" sz="2000" dirty="0"/>
              <a:t> </a:t>
            </a:r>
            <a:r>
              <a:rPr lang="en-US" sz="2000" dirty="0" err="1"/>
              <a:t>más</a:t>
            </a:r>
            <a:r>
              <a:rPr lang="en-US" sz="2000" dirty="0"/>
              <a:t> </a:t>
            </a:r>
            <a:r>
              <a:rPr lang="en-US" sz="2000" dirty="0" err="1"/>
              <a:t>rápida</a:t>
            </a:r>
            <a:endParaRPr lang="en-US" sz="2000" dirty="0"/>
          </a:p>
          <a:p>
            <a:r>
              <a:rPr lang="es-MX" sz="2000" dirty="0"/>
              <a:t>Generan programas no portables</a:t>
            </a:r>
          </a:p>
          <a:p>
            <a:r>
              <a:rPr lang="es-MX" sz="2000" dirty="0"/>
              <a:t>Ejemplos:</a:t>
            </a:r>
          </a:p>
          <a:p>
            <a:pPr lvl="1"/>
            <a:r>
              <a:rPr lang="es-MX" sz="2000" dirty="0"/>
              <a:t>C</a:t>
            </a:r>
          </a:p>
          <a:p>
            <a:pPr lvl="1"/>
            <a:r>
              <a:rPr lang="es-MX" sz="2000" dirty="0"/>
              <a:t>C++</a:t>
            </a:r>
          </a:p>
          <a:p>
            <a:pPr lvl="1"/>
            <a:r>
              <a:rPr lang="es-MX" sz="2000" dirty="0" err="1"/>
              <a:t>Go</a:t>
            </a:r>
            <a:endParaRPr lang="es-MX" sz="2000" dirty="0"/>
          </a:p>
          <a:p>
            <a:pPr lvl="1"/>
            <a:r>
              <a:rPr lang="es-MX" sz="2000" dirty="0" err="1"/>
              <a:t>Rust</a:t>
            </a:r>
            <a:endParaRPr lang="es-MX" sz="2000" dirty="0"/>
          </a:p>
          <a:p>
            <a:pPr lvl="1"/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2338272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75088-7EC8-471C-85F8-928D213E1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eneración y ejecución de binarios (C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39641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69394-0E95-4729-B566-8C354076E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Preprocesado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5FB21A-EAAA-435C-BAA6-1AC88BCFAA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s-MX" sz="2000" dirty="0"/>
              <a:t>Procesa el código fuente antes de pasarlo al compilador</a:t>
            </a:r>
          </a:p>
          <a:p>
            <a:pPr>
              <a:lnSpc>
                <a:spcPct val="100000"/>
              </a:lnSpc>
            </a:pPr>
            <a:r>
              <a:rPr lang="es-MX" sz="2000" dirty="0"/>
              <a:t>Expansión/ejecución de macros</a:t>
            </a:r>
          </a:p>
          <a:p>
            <a:pPr>
              <a:lnSpc>
                <a:spcPct val="100000"/>
              </a:lnSpc>
            </a:pPr>
            <a:r>
              <a:rPr lang="es-MX" sz="2000" dirty="0"/>
              <a:t>Remueve comentarios</a:t>
            </a:r>
          </a:p>
          <a:p>
            <a:pPr>
              <a:lnSpc>
                <a:spcPct val="100000"/>
              </a:lnSpc>
            </a:pPr>
            <a:r>
              <a:rPr lang="es-MX" sz="2000" dirty="0"/>
              <a:t>Remueve/agrega código fuente condicional</a:t>
            </a:r>
          </a:p>
          <a:p>
            <a:pPr>
              <a:lnSpc>
                <a:spcPct val="100000"/>
              </a:lnSpc>
            </a:pPr>
            <a:endParaRPr lang="es-MX" sz="2000" dirty="0"/>
          </a:p>
          <a:p>
            <a:pPr>
              <a:lnSpc>
                <a:spcPct val="100000"/>
              </a:lnSpc>
            </a:pPr>
            <a:r>
              <a:rPr lang="es-MX" sz="2000" dirty="0"/>
              <a:t>Entrada: código fuente</a:t>
            </a:r>
          </a:p>
          <a:p>
            <a:pPr>
              <a:lnSpc>
                <a:spcPct val="100000"/>
              </a:lnSpc>
            </a:pPr>
            <a:r>
              <a:rPr lang="es-MX" sz="2000" dirty="0"/>
              <a:t>Producto: código fuente</a:t>
            </a:r>
          </a:p>
          <a:p>
            <a:pPr>
              <a:lnSpc>
                <a:spcPct val="100000"/>
              </a:lnSpc>
            </a:pPr>
            <a:endParaRPr lang="es-MX" sz="2000" b="1" dirty="0"/>
          </a:p>
          <a:p>
            <a:pPr>
              <a:lnSpc>
                <a:spcPct val="100000"/>
              </a:lnSpc>
            </a:pPr>
            <a:r>
              <a:rPr lang="es-MX" sz="2000" dirty="0"/>
              <a:t>Linux -&gt; </a:t>
            </a:r>
            <a:r>
              <a:rPr lang="es-MX" sz="2000" dirty="0" err="1"/>
              <a:t>cpp</a:t>
            </a:r>
            <a:endParaRPr lang="es-MX" sz="2000" dirty="0"/>
          </a:p>
          <a:p>
            <a:pPr>
              <a:lnSpc>
                <a:spcPct val="100000"/>
              </a:lnSpc>
            </a:pPr>
            <a:endParaRPr lang="es-MX" sz="2000" dirty="0"/>
          </a:p>
          <a:p>
            <a:pPr marL="0" indent="0">
              <a:lnSpc>
                <a:spcPct val="100000"/>
              </a:lnSpc>
              <a:buNone/>
            </a:pPr>
            <a:r>
              <a:rPr lang="es-MX" sz="2000" dirty="0">
                <a:latin typeface="Consolas" panose="020B0609020204030204" pitchFamily="49" charset="0"/>
              </a:rPr>
              <a:t>$ </a:t>
            </a:r>
            <a:r>
              <a:rPr lang="es-MX" sz="2000" dirty="0" err="1">
                <a:latin typeface="Consolas" panose="020B0609020204030204" pitchFamily="49" charset="0"/>
              </a:rPr>
              <a:t>gcc</a:t>
            </a:r>
            <a:r>
              <a:rPr lang="es-MX" sz="2000" dirty="0">
                <a:latin typeface="Consolas" panose="020B0609020204030204" pitchFamily="49" charset="0"/>
              </a:rPr>
              <a:t> –E</a:t>
            </a:r>
          </a:p>
        </p:txBody>
      </p:sp>
    </p:spTree>
    <p:extLst>
      <p:ext uri="{BB962C8B-B14F-4D97-AF65-F5344CB8AC3E}">
        <p14:creationId xmlns:p14="http://schemas.microsoft.com/office/powerpoint/2010/main" val="9440525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FED70-C4D5-42E8-A08D-48A2EEA0E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ilado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96647D-9E17-4AE8-BFAD-79861E604A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sz="2000" dirty="0"/>
              <a:t>Análisis léxico, sintáctico y semántico del código fuente</a:t>
            </a:r>
          </a:p>
          <a:p>
            <a:r>
              <a:rPr lang="es-MX" sz="2000" dirty="0"/>
              <a:t>Convierte el código fuente en código objeto</a:t>
            </a:r>
          </a:p>
          <a:p>
            <a:r>
              <a:rPr lang="es-MX" sz="2000" dirty="0"/>
              <a:t>Optimización de código ejecutable</a:t>
            </a:r>
          </a:p>
          <a:p>
            <a:endParaRPr lang="es-MX" sz="2000" dirty="0"/>
          </a:p>
          <a:p>
            <a:r>
              <a:rPr lang="es-MX" sz="2000" dirty="0"/>
              <a:t>Entrada: código fuente</a:t>
            </a:r>
          </a:p>
          <a:p>
            <a:r>
              <a:rPr lang="es-MX" sz="2000" dirty="0"/>
              <a:t>Producto: código objeto</a:t>
            </a:r>
          </a:p>
          <a:p>
            <a:endParaRPr lang="es-MX" sz="2000" b="1" dirty="0"/>
          </a:p>
          <a:p>
            <a:r>
              <a:rPr lang="es-MX" sz="2000" dirty="0"/>
              <a:t>Linux -&gt; (g)</a:t>
            </a:r>
            <a:r>
              <a:rPr lang="es-MX" sz="2000" dirty="0" err="1"/>
              <a:t>cc</a:t>
            </a:r>
            <a:endParaRPr lang="es-MX" sz="2000" dirty="0"/>
          </a:p>
          <a:p>
            <a:pPr marL="0" indent="0">
              <a:buNone/>
            </a:pP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180421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BB2FD-4FA5-478E-9272-B9B587C7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nlazado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97E359-38AA-4794-8F55-82DCDC995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MX" sz="2000" dirty="0"/>
              <a:t>Enlaza/combina código objeto para generar programas ejecutables</a:t>
            </a:r>
          </a:p>
          <a:p>
            <a:r>
              <a:rPr lang="es-MX" sz="2000" dirty="0"/>
              <a:t>Enlace estático o a través de bibliotecas compartidas</a:t>
            </a:r>
          </a:p>
          <a:p>
            <a:r>
              <a:rPr lang="es-MX" sz="2000" dirty="0"/>
              <a:t>Enlace estático: para generar una </a:t>
            </a:r>
            <a:r>
              <a:rPr lang="es-MX" sz="2000" dirty="0" err="1"/>
              <a:t>sóla</a:t>
            </a:r>
            <a:r>
              <a:rPr lang="es-MX" sz="2000" dirty="0"/>
              <a:t> pieza de código</a:t>
            </a:r>
          </a:p>
          <a:p>
            <a:endParaRPr lang="es-MX" sz="2000" dirty="0"/>
          </a:p>
          <a:p>
            <a:r>
              <a:rPr lang="es-MX" sz="2000" dirty="0"/>
              <a:t>Entrada: código objeto</a:t>
            </a:r>
          </a:p>
          <a:p>
            <a:r>
              <a:rPr lang="es-MX" sz="2000" dirty="0"/>
              <a:t>Producto: código ejecutable</a:t>
            </a:r>
          </a:p>
          <a:p>
            <a:endParaRPr lang="es-MX" sz="2000" b="1" dirty="0"/>
          </a:p>
          <a:p>
            <a:r>
              <a:rPr lang="es-MX" sz="2000" dirty="0"/>
              <a:t>Linux -&gt; </a:t>
            </a:r>
            <a:r>
              <a:rPr lang="es-MX" sz="2000" dirty="0" err="1"/>
              <a:t>l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66267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UNDO_REDO_REVISION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/////wQA0wsAAAAAAAAAAAAAIAD///////////////8AAAD///////////////8DAAAAAgD///////8DAAAAAgD///////8DAAAAAgD///////8DAAAAAgD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LAP///////wQAAAACABAAC+OZMivCpvdPiM/sKBaFslUFAAAAAAADAAAAAAADAAAAAwADAAAAAAD///////8DAAAAAAD///////8DAAAAAAD///////8DAAAAAAD///////8DAAAAAAD///////8DAAAAAAD///////8DAAAAAAD///////8DAAAAAAD///////8DAAAAAAD///////8DAAAAAAD///////8DAAEA////////BAAAAAMAEAALJ791aQfSmEmWsI2G/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OZMivCpvdPiM/sKBaFslUDRGF0YQAbAAAABExpbmtlZFNoYXBlRGF0YQAFAAAAAAACTmFtZQAZAAAATGlua2VkU2hhcGVzRGF0YVByb3BlcnR5ABBWZXJzaW9uAAAAAAAJTGFzdFdyaXRlANFb6Ph3AQAAAAEA/////50AnQAAAAVfaWQAEAAAAAQnv3VpB9KYSZawjYb+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3"/>
  <p:tag name="MIO_HDS" val="True"/>
  <p:tag name="MIO_SKIPVERSION" val="01.01.0001 00:00:00"/>
  <p:tag name="MIO_EKGUID" val="187d5f6e-8b5b-4f6b-aa70-df5f3d71d548"/>
  <p:tag name="MIO_UPDATE" val="True"/>
  <p:tag name="MIO_VERSION" val="11.05.2020 14:40:41"/>
  <p:tag name="MIO_DBID" val="28AD0E67-88F4-4826-B6CB-8EA6DE4EF11B"/>
  <p:tag name="MIO_LASTDOWNLOADED" val="03.03.2021 11:00:24"/>
  <p:tag name="MIO_OBJECTNAME" val="Automotive 16x9"/>
  <p:tag name="MIO_CDID" val="d446ddb0-4ccd-4ae3-96db-87dda6130c4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Test 1"/>
  <p:tag name="MIO_EK" val="421"/>
  <p:tag name="MIO_VERSION" val="31.12.9999 23:59:59"/>
  <p:tag name="MIO_DBID" val="ED9FF2F2-6643-46BA-B685-7D49126FFAFF"/>
  <p:tag name="MIO_UPDATE" val="Fals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8</Words>
  <Application>Microsoft Office PowerPoint</Application>
  <PresentationFormat>Widescreen</PresentationFormat>
  <Paragraphs>147</Paragraphs>
  <Slides>1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Arial</vt:lpstr>
      <vt:lpstr>Consolas</vt:lpstr>
      <vt:lpstr>Continental AG 2021, 16x9</vt:lpstr>
      <vt:lpstr>Diplomado Linux Embebido – Módulo 2</vt:lpstr>
      <vt:lpstr>Temario</vt:lpstr>
      <vt:lpstr>Lenguajes de programación</vt:lpstr>
      <vt:lpstr>Lenguajes Interpretados</vt:lpstr>
      <vt:lpstr>Lenguajes compilados</vt:lpstr>
      <vt:lpstr>Generación y ejecución de binarios (C)</vt:lpstr>
      <vt:lpstr>Preprocesador</vt:lpstr>
      <vt:lpstr>Compilador</vt:lpstr>
      <vt:lpstr>Enlazador</vt:lpstr>
      <vt:lpstr>Enlazador dinámico / cargador</vt:lpstr>
      <vt:lpstr>Cadena de generación y ejecución de binarios (C)</vt:lpstr>
      <vt:lpstr>Tipos de binarios</vt:lpstr>
      <vt:lpstr>Código objeto</vt:lpstr>
      <vt:lpstr>Programa ejecutable</vt:lpstr>
      <vt:lpstr>Bibliotecas compartidas</vt:lpstr>
      <vt:lpstr>Bibliotecas estáticas</vt:lpstr>
      <vt:lpstr>Lectura recomendada</vt:lpstr>
      <vt:lpstr>Compilación avanzada</vt:lpstr>
      <vt:lpstr>Banderas de compilación de gcc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on Kirchner_ext</dc:creator>
  <cp:lastModifiedBy>Bautista, Alan</cp:lastModifiedBy>
  <cp:revision>79</cp:revision>
  <dcterms:created xsi:type="dcterms:W3CDTF">2019-04-24T08:42:37Z</dcterms:created>
  <dcterms:modified xsi:type="dcterms:W3CDTF">2023-04-14T04:46:38Z</dcterms:modified>
</cp:coreProperties>
</file>